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6" r:id="rId2"/>
    <p:sldId id="272" r:id="rId3"/>
    <p:sldId id="274" r:id="rId4"/>
    <p:sldId id="266" r:id="rId5"/>
    <p:sldId id="261" r:id="rId6"/>
    <p:sldId id="282" r:id="rId7"/>
    <p:sldId id="283" r:id="rId8"/>
    <p:sldId id="284" r:id="rId9"/>
    <p:sldId id="276" r:id="rId10"/>
    <p:sldId id="280" r:id="rId11"/>
    <p:sldId id="273" r:id="rId12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89587" autoAdjust="0"/>
  </p:normalViewPr>
  <p:slideViewPr>
    <p:cSldViewPr snapToGrid="0">
      <p:cViewPr varScale="1">
        <p:scale>
          <a:sx n="110" d="100"/>
          <a:sy n="110" d="100"/>
        </p:scale>
        <p:origin x="492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B251AA-D938-4C72-9944-18B02E5D113B}" type="datetimeFigureOut">
              <a:rPr lang="en-GB" smtClean="0"/>
              <a:t>07/08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F23B44-9D73-474B-ADFE-DB665D87450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44775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General </a:t>
            </a:r>
            <a:r>
              <a:rPr lang="de-DE" dirty="0" err="1"/>
              <a:t>Forsamling</a:t>
            </a:r>
            <a:r>
              <a:rPr lang="de-DE" dirty="0"/>
              <a:t> 2016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288C-AB6D-4DBC-B760-C10B79A31833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/>
          <a:srcRect l="34334" t="7326" r="999" b="72612"/>
          <a:stretch/>
        </p:blipFill>
        <p:spPr>
          <a:xfrm>
            <a:off x="0" y="0"/>
            <a:ext cx="12197588" cy="2065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4773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2A8E8-5D1F-451C-951A-F2ADFE7DB88A}" type="datetimeFigureOut">
              <a:rPr lang="en-GB" smtClean="0"/>
              <a:t>07/08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288C-AB6D-4DBC-B760-C10B79A3183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63386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2A8E8-5D1F-451C-951A-F2ADFE7DB88A}" type="datetimeFigureOut">
              <a:rPr lang="en-GB" smtClean="0"/>
              <a:t>07/08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288C-AB6D-4DBC-B760-C10B79A3183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1323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General </a:t>
            </a:r>
            <a:r>
              <a:rPr lang="de-DE" dirty="0" err="1"/>
              <a:t>Forsamling</a:t>
            </a:r>
            <a:r>
              <a:rPr lang="de-DE" dirty="0"/>
              <a:t> 2016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288C-AB6D-4DBC-B760-C10B79A31833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/>
          <a:srcRect l="34334" t="7326" r="999" b="72612"/>
          <a:stretch/>
        </p:blipFill>
        <p:spPr>
          <a:xfrm>
            <a:off x="0" y="0"/>
            <a:ext cx="12197588" cy="2065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5258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2A8E8-5D1F-451C-951A-F2ADFE7DB88A}" type="datetimeFigureOut">
              <a:rPr lang="en-GB" smtClean="0"/>
              <a:t>07/08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288C-AB6D-4DBC-B760-C10B79A3183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74177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2A8E8-5D1F-451C-951A-F2ADFE7DB88A}" type="datetimeFigureOut">
              <a:rPr lang="en-GB" smtClean="0"/>
              <a:t>07/08/2021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288C-AB6D-4DBC-B760-C10B79A3183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95442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2A8E8-5D1F-451C-951A-F2ADFE7DB88A}" type="datetimeFigureOut">
              <a:rPr lang="en-GB" smtClean="0"/>
              <a:t>07/08/2021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288C-AB6D-4DBC-B760-C10B79A3183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01703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2A8E8-5D1F-451C-951A-F2ADFE7DB88A}" type="datetimeFigureOut">
              <a:rPr lang="en-GB" smtClean="0"/>
              <a:t>07/08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288C-AB6D-4DBC-B760-C10B79A3183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89106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2A8E8-5D1F-451C-951A-F2ADFE7DB88A}" type="datetimeFigureOut">
              <a:rPr lang="en-GB" smtClean="0"/>
              <a:t>07/08/2021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288C-AB6D-4DBC-B760-C10B79A3183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52362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2A8E8-5D1F-451C-951A-F2ADFE7DB88A}" type="datetimeFigureOut">
              <a:rPr lang="en-GB" smtClean="0"/>
              <a:t>07/08/2021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288C-AB6D-4DBC-B760-C10B79A3183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84669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F2A8E8-5D1F-451C-951A-F2ADFE7DB88A}" type="datetimeFigureOut">
              <a:rPr lang="en-GB" smtClean="0"/>
              <a:t>07/08/2021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A288C-AB6D-4DBC-B760-C10B79A3183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28995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1B995BE-A35E-45D5-B6EC-AAE8BD63A3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61441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F2A8E8-5D1F-451C-951A-F2ADFE7DB88A}" type="datetimeFigureOut">
              <a:rPr lang="en-GB" smtClean="0"/>
              <a:t>07/08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5A288C-AB6D-4DBC-B760-C10B79A3183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7857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1.png"/><Relationship Id="rId7" Type="http://schemas.microsoft.com/office/2007/relationships/hdphoto" Target="../media/hdphoto1.wdp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12.svg"/><Relationship Id="rId9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02A6C24-9876-444B-B0AB-6CAC084B0B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2689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660138"/>
            <a:ext cx="9144000" cy="2387600"/>
          </a:xfrm>
        </p:spPr>
        <p:txBody>
          <a:bodyPr vert="horz">
            <a:noAutofit/>
          </a:bodyPr>
          <a:lstStyle/>
          <a:p>
            <a:br>
              <a:rPr lang="de-DE" sz="4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4400" b="1" dirty="0" err="1">
                <a:latin typeface="Arial" panose="020B0604020202020204" pitchFamily="34" charset="0"/>
                <a:cs typeface="Arial" panose="020B0604020202020204" pitchFamily="34" charset="0"/>
              </a:rPr>
              <a:t>Ordinært</a:t>
            </a:r>
            <a:r>
              <a:rPr lang="de-DE" sz="4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4400" b="1" dirty="0" err="1">
                <a:latin typeface="Arial" panose="020B0604020202020204" pitchFamily="34" charset="0"/>
                <a:cs typeface="Arial" panose="020B0604020202020204" pitchFamily="34" charset="0"/>
              </a:rPr>
              <a:t>Interessentskabsm</a:t>
            </a:r>
            <a:r>
              <a:rPr lang="da-DK" sz="4400" b="1" dirty="0">
                <a:latin typeface="Arial" panose="020B0604020202020204" pitchFamily="34" charset="0"/>
                <a:cs typeface="Arial" panose="020B0604020202020204" pitchFamily="34" charset="0"/>
              </a:rPr>
              <a:t>øde</a:t>
            </a:r>
            <a:r>
              <a:rPr lang="de-DE" sz="4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4400" b="1" dirty="0" err="1"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4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4400" b="1" dirty="0" err="1">
                <a:latin typeface="Arial" panose="020B0604020202020204" pitchFamily="34" charset="0"/>
                <a:cs typeface="Arial" panose="020B0604020202020204" pitchFamily="34" charset="0"/>
              </a:rPr>
              <a:t>året</a:t>
            </a:r>
            <a:r>
              <a:rPr lang="de-DE" sz="4400" b="1" dirty="0">
                <a:latin typeface="Arial" panose="020B0604020202020204" pitchFamily="34" charset="0"/>
                <a:cs typeface="Arial" panose="020B0604020202020204" pitchFamily="34" charset="0"/>
              </a:rPr>
              <a:t> 2020</a:t>
            </a:r>
            <a:endParaRPr lang="en-GB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19143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673D059-18E1-4F36-85B8-480F0F2E83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6642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sz="4000" b="1" dirty="0">
                <a:latin typeface="Arial" panose="020B0604020202020204" pitchFamily="34" charset="0"/>
                <a:cs typeface="Arial" panose="020B0604020202020204" pitchFamily="34" charset="0"/>
              </a:rPr>
              <a:t>Ekstraordinært punkt</a:t>
            </a:r>
            <a:endParaRPr lang="en-GB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60759C-4617-40B6-8937-F66AED8376B0}"/>
              </a:ext>
            </a:extLst>
          </p:cNvPr>
          <p:cNvSpPr txBox="1"/>
          <p:nvPr/>
        </p:nvSpPr>
        <p:spPr>
          <a:xfrm>
            <a:off x="211873" y="2286000"/>
            <a:ext cx="9993249" cy="36933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/>
              <a:t>På baggrund af tidligere møder har vi fornemmet en interesse for om et mølle salg er interessant eller ej.</a:t>
            </a:r>
          </a:p>
          <a:p>
            <a:endParaRPr lang="da-DK" dirty="0"/>
          </a:p>
          <a:p>
            <a:r>
              <a:rPr lang="da-DK" dirty="0"/>
              <a:t>Vi har forsøgt at bruge nogen objektive tal på basis a markeds indikationer:</a:t>
            </a:r>
          </a:p>
          <a:p>
            <a:r>
              <a:rPr lang="da-DK" dirty="0"/>
              <a:t>Købs pris 0,8 </a:t>
            </a:r>
            <a:r>
              <a:rPr lang="da-DK" dirty="0" err="1"/>
              <a:t>kr</a:t>
            </a:r>
            <a:r>
              <a:rPr lang="da-DK" dirty="0"/>
              <a:t>/kWh</a:t>
            </a:r>
          </a:p>
          <a:p>
            <a:r>
              <a:rPr lang="da-DK" dirty="0" err="1"/>
              <a:t>Kwh</a:t>
            </a:r>
            <a:r>
              <a:rPr lang="da-DK" dirty="0"/>
              <a:t> 2.700.000</a:t>
            </a:r>
          </a:p>
          <a:p>
            <a:r>
              <a:rPr lang="da-DK" dirty="0"/>
              <a:t>Udlodning 2021 : 45 </a:t>
            </a:r>
            <a:r>
              <a:rPr lang="da-DK" dirty="0" err="1"/>
              <a:t>kr</a:t>
            </a:r>
            <a:r>
              <a:rPr lang="da-DK" dirty="0"/>
              <a:t> (3*15)</a:t>
            </a:r>
          </a:p>
          <a:p>
            <a:r>
              <a:rPr lang="da-DK" dirty="0"/>
              <a:t>Andele: 3267</a:t>
            </a:r>
          </a:p>
          <a:p>
            <a:r>
              <a:rPr lang="da-DK" dirty="0"/>
              <a:t>Indestående 500.000 </a:t>
            </a:r>
            <a:r>
              <a:rPr lang="da-DK" dirty="0" err="1"/>
              <a:t>kr</a:t>
            </a:r>
            <a:endParaRPr lang="da-DK" dirty="0"/>
          </a:p>
          <a:p>
            <a:r>
              <a:rPr lang="da-DK" dirty="0"/>
              <a:t>Handels </a:t>
            </a:r>
            <a:r>
              <a:rPr lang="da-DK" dirty="0" err="1"/>
              <a:t>omk</a:t>
            </a:r>
            <a:r>
              <a:rPr lang="da-DK" dirty="0"/>
              <a:t>: 75.000 </a:t>
            </a:r>
            <a:r>
              <a:rPr lang="da-DK" dirty="0" err="1"/>
              <a:t>kr</a:t>
            </a:r>
            <a:endParaRPr lang="da-DK" dirty="0"/>
          </a:p>
          <a:p>
            <a:endParaRPr lang="da-DK" dirty="0"/>
          </a:p>
          <a:p>
            <a:r>
              <a:rPr lang="da-DK" dirty="0"/>
              <a:t>Provenu/anpart: (2.700.000*0,8+500.000-75.000)/3267=791/anpart</a:t>
            </a:r>
          </a:p>
          <a:p>
            <a:r>
              <a:rPr lang="da-DK" dirty="0"/>
              <a:t>Afkast % ved fremtidig drift </a:t>
            </a:r>
            <a:r>
              <a:rPr lang="da-DK" dirty="0" err="1"/>
              <a:t>ifht</a:t>
            </a:r>
            <a:r>
              <a:rPr lang="da-DK" dirty="0"/>
              <a:t> salgspris: 45/791=5,6%</a:t>
            </a:r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370789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pPr marL="0" indent="0" algn="ctr">
              <a:buNone/>
            </a:pPr>
            <a:r>
              <a:rPr lang="da-DK" sz="4400" dirty="0"/>
              <a:t>Tak for i aften og kom godt hjem</a:t>
            </a:r>
            <a:endParaRPr lang="en-GB" sz="4400" dirty="0"/>
          </a:p>
        </p:txBody>
      </p:sp>
    </p:spTree>
    <p:extLst>
      <p:ext uri="{BB962C8B-B14F-4D97-AF65-F5344CB8AC3E}">
        <p14:creationId xmlns:p14="http://schemas.microsoft.com/office/powerpoint/2010/main" val="35917382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sz="4000" b="1" dirty="0">
                <a:latin typeface="Arial" panose="020B0604020202020204" pitchFamily="34" charset="0"/>
                <a:cs typeface="Arial" panose="020B0604020202020204" pitchFamily="34" charset="0"/>
              </a:rPr>
              <a:t>Dagsorden</a:t>
            </a:r>
            <a:endParaRPr lang="en-GB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38200" y="2116738"/>
            <a:ext cx="897567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da-DK" sz="1200" dirty="0"/>
              <a:t>Velkomst ved formanden</a:t>
            </a:r>
          </a:p>
          <a:p>
            <a:pPr marL="228600" indent="-228600">
              <a:buFont typeface="+mj-lt"/>
              <a:buAutoNum type="arabicPeriod"/>
            </a:pPr>
            <a:r>
              <a:rPr lang="da-DK" sz="1200" dirty="0"/>
              <a:t>Valg af dirigent og referent</a:t>
            </a:r>
          </a:p>
          <a:p>
            <a:pPr marL="228600" indent="-228600">
              <a:buFont typeface="+mj-lt"/>
              <a:buAutoNum type="arabicPeriod"/>
            </a:pPr>
            <a:r>
              <a:rPr lang="da-DK" sz="1200" dirty="0"/>
              <a:t>Fremlæggelse af formandens beretning til godkendelse</a:t>
            </a:r>
          </a:p>
          <a:p>
            <a:pPr marL="228600" indent="-228600">
              <a:buFont typeface="+mj-lt"/>
              <a:buAutoNum type="arabicPeriod"/>
            </a:pPr>
            <a:r>
              <a:rPr lang="da-DK" sz="1200" dirty="0"/>
              <a:t>Fremlæggelse af regnskabet for året 2020 til godkendelse</a:t>
            </a:r>
          </a:p>
          <a:p>
            <a:pPr marL="228600" indent="-228600">
              <a:buFont typeface="+mj-lt"/>
              <a:buAutoNum type="arabicPeriod"/>
            </a:pPr>
            <a:r>
              <a:rPr lang="da-DK" sz="1200" dirty="0"/>
              <a:t>Fremlæggelse af budget for året 2021 til godkendelse</a:t>
            </a:r>
          </a:p>
          <a:p>
            <a:pPr marL="228600" indent="-228600">
              <a:buFont typeface="+mj-lt"/>
              <a:buAutoNum type="arabicPeriod"/>
            </a:pPr>
            <a:r>
              <a:rPr lang="da-DK" sz="1200" dirty="0"/>
              <a:t>Fastlæggelse af udlodninger for 2021</a:t>
            </a:r>
          </a:p>
          <a:p>
            <a:pPr marL="228600" indent="-228600">
              <a:buFont typeface="+mj-lt"/>
              <a:buAutoNum type="arabicPeriod"/>
            </a:pPr>
            <a:r>
              <a:rPr lang="da-DK" sz="1200" dirty="0"/>
              <a:t>Valg af bestyrelsen, På valg er:</a:t>
            </a:r>
          </a:p>
          <a:p>
            <a:pPr lvl="0"/>
            <a:r>
              <a:rPr lang="da-DK" sz="1200" dirty="0"/>
              <a:t>	Herluf Nielsen, tilbagetræder før tid pga. personlige årsager. Bestyrelsen foreslår valg af Lars Vejrup </a:t>
            </a:r>
          </a:p>
          <a:p>
            <a:pPr lvl="0"/>
            <a:r>
              <a:rPr lang="da-DK" sz="1200" dirty="0"/>
              <a:t>	Kim Wichmann Hansen, modtager genvalg</a:t>
            </a:r>
          </a:p>
          <a:p>
            <a:pPr lvl="0"/>
            <a:r>
              <a:rPr lang="da-DK" sz="1200" dirty="0"/>
              <a:t>	Michael W. Nielsen, modtager genvalg</a:t>
            </a:r>
          </a:p>
          <a:p>
            <a:pPr lvl="0"/>
            <a:r>
              <a:rPr lang="da-DK" sz="1200" dirty="0"/>
              <a:t>	Peter Storm, modtager genvalg  </a:t>
            </a:r>
          </a:p>
          <a:p>
            <a:pPr marL="228600" indent="-228600">
              <a:buFont typeface="+mj-lt"/>
              <a:buAutoNum type="arabicPeriod" startAt="8"/>
            </a:pPr>
            <a:r>
              <a:rPr lang="da-DK" sz="1200" dirty="0"/>
              <a:t> Valg af suppleanter, På valg er:</a:t>
            </a:r>
          </a:p>
          <a:p>
            <a:pPr lvl="0"/>
            <a:r>
              <a:rPr lang="da-DK" sz="1200" dirty="0"/>
              <a:t>	Hans Gejl, modtager genvalg</a:t>
            </a:r>
          </a:p>
          <a:p>
            <a:pPr lvl="0"/>
            <a:r>
              <a:rPr lang="da-DK" sz="1200" dirty="0"/>
              <a:t>	Bent Christensen, modtager genvalg</a:t>
            </a:r>
          </a:p>
          <a:p>
            <a:pPr marL="228600" indent="-228600">
              <a:buFont typeface="+mj-lt"/>
              <a:buAutoNum type="arabicPeriod" startAt="9"/>
            </a:pPr>
            <a:r>
              <a:rPr lang="da-DK" sz="1200" dirty="0"/>
              <a:t>Valg af revision, hidtil Brørup Revision</a:t>
            </a:r>
          </a:p>
          <a:p>
            <a:pPr marL="228600" indent="-228600">
              <a:buFont typeface="+mj-lt"/>
              <a:buAutoNum type="arabicPeriod" startAt="9"/>
            </a:pPr>
            <a:r>
              <a:rPr lang="da-DK" sz="1200" dirty="0"/>
              <a:t>Indkommende forslag. (Skal være bestyrelsen i hænde 8 dage før generalforsamlingen.)</a:t>
            </a:r>
          </a:p>
          <a:p>
            <a:pPr lvl="0"/>
            <a:r>
              <a:rPr lang="da-DK" sz="1200" dirty="0"/>
              <a:t>	Bestyrelsen vil gerne informere om eventuelle muligheder for salg af andele</a:t>
            </a:r>
          </a:p>
          <a:p>
            <a:pPr marL="228600" indent="-228600">
              <a:buFont typeface="+mj-lt"/>
              <a:buAutoNum type="arabicPeriod" startAt="11"/>
            </a:pPr>
            <a:r>
              <a:rPr lang="da-DK" sz="1200" dirty="0"/>
              <a:t>Eventuelt</a:t>
            </a:r>
          </a:p>
          <a:p>
            <a:pPr marL="228600" indent="-228600">
              <a:buFont typeface="+mj-lt"/>
              <a:buAutoNum type="arabicPeriod" startAt="11"/>
            </a:pPr>
            <a:r>
              <a:rPr lang="da-DK" sz="1200" dirty="0"/>
              <a:t>Afslutning ved formand</a:t>
            </a:r>
          </a:p>
          <a:p>
            <a:pPr marL="342900" indent="-342900">
              <a:buFont typeface="+mj-lt"/>
              <a:buAutoNum type="arabicPeriod"/>
            </a:pPr>
            <a:endParaRPr lang="da-DK" sz="1200" dirty="0"/>
          </a:p>
        </p:txBody>
      </p:sp>
    </p:spTree>
    <p:extLst>
      <p:ext uri="{BB962C8B-B14F-4D97-AF65-F5344CB8AC3E}">
        <p14:creationId xmlns:p14="http://schemas.microsoft.com/office/powerpoint/2010/main" val="5201675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20000"/>
          </a:bodyPr>
          <a:lstStyle/>
          <a:p>
            <a:endParaRPr lang="de-DE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Formandens</a:t>
            </a: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Beretning</a:t>
            </a: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Kim Wichmann-Hansen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64624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sz="4000" b="1" dirty="0">
                <a:latin typeface="Arial" panose="020B0604020202020204" pitchFamily="34" charset="0"/>
                <a:cs typeface="Arial" panose="020B0604020202020204" pitchFamily="34" charset="0"/>
              </a:rPr>
              <a:t>Beretning</a:t>
            </a:r>
            <a:endParaRPr lang="en-GB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233031"/>
            <a:ext cx="10515600" cy="4351338"/>
          </a:xfrm>
        </p:spPr>
        <p:txBody>
          <a:bodyPr>
            <a:noAutofit/>
          </a:bodyPr>
          <a:lstStyle/>
          <a:p>
            <a:r>
              <a:rPr lang="da-DK" sz="1800" dirty="0"/>
              <a:t>Gennemgang af medlemslister og overblik</a:t>
            </a:r>
          </a:p>
          <a:p>
            <a:pPr lvl="1"/>
            <a:r>
              <a:rPr lang="da-DK" sz="1800" dirty="0"/>
              <a:t>Andele totalt 3267 (</a:t>
            </a:r>
            <a:r>
              <a:rPr lang="da-DK" sz="1800" dirty="0" err="1"/>
              <a:t>jvf</a:t>
            </a:r>
            <a:r>
              <a:rPr lang="da-DK" sz="1800" dirty="0"/>
              <a:t> årsregnskabet note 11)</a:t>
            </a:r>
          </a:p>
          <a:p>
            <a:pPr lvl="1"/>
            <a:r>
              <a:rPr lang="da-DK" sz="1800" dirty="0"/>
              <a:t>Medlemmer total 242</a:t>
            </a:r>
          </a:p>
          <a:p>
            <a:pPr lvl="1"/>
            <a:r>
              <a:rPr lang="da-DK" sz="1800" dirty="0"/>
              <a:t>Udsendte invitationer 109</a:t>
            </a:r>
          </a:p>
          <a:p>
            <a:pPr lvl="1"/>
            <a:r>
              <a:rPr lang="da-DK" sz="1800" dirty="0"/>
              <a:t>Svar ja 24</a:t>
            </a:r>
          </a:p>
          <a:p>
            <a:pPr lvl="1"/>
            <a:r>
              <a:rPr lang="da-DK" sz="1800" dirty="0"/>
              <a:t>Svar nej 1</a:t>
            </a:r>
          </a:p>
          <a:p>
            <a:r>
              <a:rPr lang="da-DK" sz="1800" dirty="0"/>
              <a:t>4 bestyrelsesmøder</a:t>
            </a:r>
          </a:p>
          <a:p>
            <a:r>
              <a:rPr lang="da-DK" sz="1800" dirty="0"/>
              <a:t>Transformer </a:t>
            </a:r>
            <a:r>
              <a:rPr lang="da-DK" sz="1800" dirty="0" err="1"/>
              <a:t>brandt</a:t>
            </a:r>
            <a:r>
              <a:rPr lang="da-DK" sz="1800" dirty="0"/>
              <a:t> og udskiftet</a:t>
            </a:r>
          </a:p>
          <a:p>
            <a:r>
              <a:rPr lang="da-DK" sz="1800" dirty="0"/>
              <a:t>Meget lave elpriser i 2020 har udfordret vores anlægskapital</a:t>
            </a:r>
          </a:p>
          <a:p>
            <a:r>
              <a:rPr lang="da-DK" sz="1800" dirty="0"/>
              <a:t>Manglende anlægskapital, genetableret i 2021</a:t>
            </a:r>
          </a:p>
          <a:p>
            <a:r>
              <a:rPr lang="da-DK" sz="1800" dirty="0"/>
              <a:t>Faktura godkendelsesproces overholdt – og skærpet</a:t>
            </a:r>
          </a:p>
          <a:p>
            <a:r>
              <a:rPr lang="da-DK" sz="1800" dirty="0"/>
              <a:t>Bedrag (</a:t>
            </a:r>
            <a:r>
              <a:rPr lang="da-DK" sz="1800" dirty="0" err="1"/>
              <a:t>Phising</a:t>
            </a:r>
            <a:r>
              <a:rPr lang="da-DK" sz="1800" dirty="0"/>
              <a:t>). Betalt 20.508 fejlagtigt for reservedele.</a:t>
            </a:r>
          </a:p>
        </p:txBody>
      </p:sp>
    </p:spTree>
    <p:extLst>
      <p:ext uri="{BB962C8B-B14F-4D97-AF65-F5344CB8AC3E}">
        <p14:creationId xmlns:p14="http://schemas.microsoft.com/office/powerpoint/2010/main" val="16855598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B038D0C-B739-47AF-AE5E-7F86E77985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5133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1325563"/>
          </a:xfrm>
        </p:spPr>
        <p:txBody>
          <a:bodyPr vert="horz"/>
          <a:lstStyle/>
          <a:p>
            <a:r>
              <a:rPr lang="da-DK" sz="4000" b="1" dirty="0">
                <a:latin typeface="Arial" panose="020B0604020202020204" pitchFamily="34" charset="0"/>
                <a:cs typeface="Arial" panose="020B0604020202020204" pitchFamily="34" charset="0"/>
              </a:rPr>
              <a:t>Beretning</a:t>
            </a:r>
            <a:endParaRPr lang="en-GB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a-DK" altLang="da-DK" sz="1100" b="0" i="0" u="none" strike="noStrike" cap="none" normalizeH="0" baseline="0">
                <a:ln>
                  <a:noFill/>
                </a:ln>
                <a:solidFill>
                  <a:srgbClr val="404040"/>
                </a:solidFill>
                <a:effectLst/>
                <a:latin typeface="Acme"/>
                <a:cs typeface="Arial" pitchFamily="34" charset="0"/>
              </a:rPr>
            </a:br>
            <a:endParaRPr kumimoji="0" lang="da-DK" altLang="da-DK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07B63B-F229-4C22-9CD5-DD49946DBA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3667" y="3780406"/>
            <a:ext cx="5012654" cy="2674628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98D3AA94-03F2-479F-8DF5-599D0AF45B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494" y="2345687"/>
            <a:ext cx="5347032" cy="1258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Oval 3"/>
          <p:cNvSpPr/>
          <p:nvPr/>
        </p:nvSpPr>
        <p:spPr>
          <a:xfrm>
            <a:off x="802539" y="5167563"/>
            <a:ext cx="2169259" cy="58855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1B6F9D1-7412-4CBA-AF19-0D4E9DCB8B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15193" y="2406324"/>
            <a:ext cx="5936752" cy="3926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2165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1325563"/>
          </a:xfrm>
        </p:spPr>
        <p:txBody>
          <a:bodyPr>
            <a:normAutofit/>
          </a:bodyPr>
          <a:lstStyle/>
          <a:p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Teknik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ø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d &amp; 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endParaRPr lang="en-GB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2268762"/>
            <a:ext cx="8154411" cy="4158854"/>
          </a:xfrm>
        </p:spPr>
        <p:txBody>
          <a:bodyPr>
            <a:normAutofit/>
          </a:bodyPr>
          <a:lstStyle/>
          <a:p>
            <a:pPr marL="0" lvl="0" indent="0">
              <a:spcAft>
                <a:spcPts val="1000"/>
              </a:spcAft>
              <a:buNone/>
            </a:pPr>
            <a:r>
              <a:rPr lang="da-DK" sz="2000" u="sng" dirty="0"/>
              <a:t>Møllernes tilstand og Service oversigt:</a:t>
            </a:r>
          </a:p>
          <a:p>
            <a:pPr lvl="0">
              <a:spcAft>
                <a:spcPts val="1000"/>
              </a:spcAft>
            </a:pPr>
            <a:r>
              <a:rPr lang="da-DK" sz="2000" dirty="0"/>
              <a:t>Mølle 1304 (1998): </a:t>
            </a:r>
            <a:r>
              <a:rPr lang="en-DK" sz="2000" dirty="0"/>
              <a:t>1</a:t>
            </a:r>
            <a:r>
              <a:rPr lang="da-DK" sz="2000" dirty="0"/>
              <a:t> yderligere service besøg</a:t>
            </a:r>
            <a:r>
              <a:rPr lang="en-DK" sz="2000" dirty="0"/>
              <a:t> </a:t>
            </a:r>
            <a:endParaRPr lang="da-DK" sz="2000" dirty="0"/>
          </a:p>
          <a:p>
            <a:pPr lvl="0">
              <a:spcAft>
                <a:spcPts val="1000"/>
              </a:spcAft>
            </a:pPr>
            <a:r>
              <a:rPr lang="da-DK" sz="2000" dirty="0"/>
              <a:t>Mølle 11488 (2000): </a:t>
            </a:r>
            <a:r>
              <a:rPr lang="en-DK" sz="2000" dirty="0"/>
              <a:t>~6</a:t>
            </a:r>
            <a:r>
              <a:rPr lang="da-DK" sz="2000" dirty="0"/>
              <a:t> yderligere service besøg</a:t>
            </a:r>
            <a:r>
              <a:rPr lang="en-DK" sz="2000" dirty="0"/>
              <a:t> (*Transformer sag)</a:t>
            </a:r>
          </a:p>
          <a:p>
            <a:pPr marL="0" lvl="0" indent="0">
              <a:spcAft>
                <a:spcPts val="1000"/>
              </a:spcAft>
              <a:buNone/>
            </a:pPr>
            <a:r>
              <a:rPr lang="en-DK" sz="2000" dirty="0"/>
              <a:t>Service Budget </a:t>
            </a:r>
            <a:r>
              <a:rPr lang="en-DK" sz="2000" dirty="0" err="1"/>
              <a:t>overholdt</a:t>
            </a:r>
            <a:r>
              <a:rPr lang="en-DK" sz="2000" dirty="0"/>
              <a:t>. </a:t>
            </a:r>
            <a:endParaRPr lang="en-DK" sz="1600" dirty="0"/>
          </a:p>
          <a:p>
            <a:pPr marL="0" lvl="0" indent="0">
              <a:spcAft>
                <a:spcPts val="1000"/>
              </a:spcAft>
              <a:buNone/>
            </a:pPr>
            <a:r>
              <a:rPr lang="en-DK" sz="1600" dirty="0" err="1"/>
              <a:t>Generelle</a:t>
            </a:r>
            <a:r>
              <a:rPr lang="en-DK" sz="1600" dirty="0"/>
              <a:t> </a:t>
            </a:r>
            <a:r>
              <a:rPr lang="en-DK" sz="1600" dirty="0" err="1"/>
              <a:t>symptomer</a:t>
            </a:r>
            <a:r>
              <a:rPr lang="da-DK" sz="1600" dirty="0"/>
              <a:t>: </a:t>
            </a:r>
            <a:r>
              <a:rPr lang="en-DK" sz="1600" dirty="0" err="1"/>
              <a:t>Vindmåler</a:t>
            </a:r>
            <a:r>
              <a:rPr lang="en-DK" sz="1600" dirty="0"/>
              <a:t>, </a:t>
            </a:r>
            <a:r>
              <a:rPr lang="en-DK" sz="1600" dirty="0" err="1"/>
              <a:t>slidte</a:t>
            </a:r>
            <a:r>
              <a:rPr lang="en-DK" sz="1600" dirty="0"/>
              <a:t> </a:t>
            </a:r>
            <a:r>
              <a:rPr lang="en-DK" sz="1600" dirty="0" err="1"/>
              <a:t>lejer</a:t>
            </a:r>
            <a:r>
              <a:rPr lang="en-DK" sz="1600" dirty="0"/>
              <a:t>, </a:t>
            </a:r>
            <a:r>
              <a:rPr lang="en-DK" sz="1600" dirty="0" err="1"/>
              <a:t>strømforsyning</a:t>
            </a:r>
            <a:r>
              <a:rPr lang="en-DK" sz="1600" dirty="0"/>
              <a:t> </a:t>
            </a:r>
            <a:r>
              <a:rPr lang="en-DK" sz="1600" dirty="0" err="1"/>
              <a:t>til</a:t>
            </a:r>
            <a:r>
              <a:rPr lang="en-DK" sz="1600" dirty="0"/>
              <a:t> </a:t>
            </a:r>
            <a:r>
              <a:rPr lang="en-DK" sz="1600" dirty="0" err="1"/>
              <a:t>elskab</a:t>
            </a:r>
            <a:r>
              <a:rPr lang="en-DK" sz="1600" dirty="0"/>
              <a:t>, </a:t>
            </a:r>
            <a:r>
              <a:rPr lang="da-DK" sz="1600" dirty="0"/>
              <a:t>Slidte kontakter</a:t>
            </a:r>
            <a:r>
              <a:rPr lang="en-DK" sz="1600" dirty="0"/>
              <a:t>, </a:t>
            </a:r>
            <a:r>
              <a:rPr lang="da-DK" sz="1600" dirty="0"/>
              <a:t>sikringer, pakninger</a:t>
            </a:r>
            <a:r>
              <a:rPr lang="en-DK" sz="1600" dirty="0"/>
              <a:t> </a:t>
            </a:r>
            <a:r>
              <a:rPr lang="en-DK" sz="1600" dirty="0" err="1"/>
              <a:t>m.m.</a:t>
            </a:r>
            <a:endParaRPr lang="en-US" sz="1600" dirty="0"/>
          </a:p>
        </p:txBody>
      </p:sp>
      <p:pic>
        <p:nvPicPr>
          <p:cNvPr id="6146" name="Picture 2" descr="Cartoon: Vestas (medium) by Zoltan tagged energie,klimawandel,wind,wartung,wimmelbild,windkraftanlage,windkraft,karikatur,vestas,cartoon,dovath,zoltan,monteu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5412" y="2252996"/>
            <a:ext cx="3448236" cy="4174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214E7C6-1985-46DC-AA8B-C5B615F34D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1380644" y="4693410"/>
            <a:ext cx="1708103" cy="2276719"/>
          </a:xfrm>
          <a:prstGeom prst="rect">
            <a:avLst/>
          </a:prstGeom>
        </p:spPr>
      </p:pic>
      <p:pic>
        <p:nvPicPr>
          <p:cNvPr id="4098" name="FCFC862B-97CE-4180-A02B-C4FBF79609B7">
            <a:extLst>
              <a:ext uri="{FF2B5EF4-FFF2-40B4-BE49-F238E27FC236}">
                <a16:creationId xmlns:a16="http://schemas.microsoft.com/office/drawing/2014/main" id="{2B7C1EBA-751F-45CC-B491-C549040885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4170983" y="4693068"/>
            <a:ext cx="1707539" cy="2276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5930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1325563"/>
          </a:xfrm>
        </p:spPr>
        <p:txBody>
          <a:bodyPr>
            <a:normAutofit/>
          </a:bodyPr>
          <a:lstStyle/>
          <a:p>
            <a:r>
              <a:rPr lang="da-DK" sz="3600" b="1" dirty="0">
                <a:latin typeface="Arial" panose="020B0604020202020204" pitchFamily="34" charset="0"/>
                <a:cs typeface="Arial" panose="020B0604020202020204" pitchFamily="34" charset="0"/>
              </a:rPr>
              <a:t>Teknik</a:t>
            </a:r>
            <a:r>
              <a:rPr lang="en-DK" sz="3600" b="1" dirty="0">
                <a:latin typeface="Arial" panose="020B0604020202020204" pitchFamily="34" charset="0"/>
                <a:cs typeface="Arial" panose="020B0604020202020204" pitchFamily="34" charset="0"/>
              </a:rPr>
              <a:t> – Transformer Brand</a:t>
            </a:r>
            <a:endParaRPr lang="en-GB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F8239805-84C8-47BF-99AE-1DA0A07C03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999" y="2374480"/>
            <a:ext cx="6073077" cy="4174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8E28E78-E016-4440-B04F-33100A8CB9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51057" y="2382362"/>
            <a:ext cx="5274644" cy="4158854"/>
          </a:xfrm>
        </p:spPr>
        <p:txBody>
          <a:bodyPr>
            <a:normAutofit/>
          </a:bodyPr>
          <a:lstStyle/>
          <a:p>
            <a:pPr marL="0" lvl="0" indent="0">
              <a:spcAft>
                <a:spcPts val="1000"/>
              </a:spcAft>
              <a:buNone/>
            </a:pPr>
            <a:endParaRPr lang="en-DK" sz="1800" dirty="0"/>
          </a:p>
          <a:p>
            <a:pPr marL="0" lvl="0" indent="0">
              <a:spcAft>
                <a:spcPts val="1000"/>
              </a:spcAft>
              <a:buNone/>
            </a:pPr>
            <a:r>
              <a:rPr lang="en-DK" sz="1800" dirty="0" err="1"/>
              <a:t>Sagens</a:t>
            </a:r>
            <a:r>
              <a:rPr lang="en-DK" sz="1800" dirty="0"/>
              <a:t> gang...</a:t>
            </a:r>
          </a:p>
          <a:p>
            <a:pPr lvl="0">
              <a:spcAft>
                <a:spcPts val="1000"/>
              </a:spcAft>
            </a:pPr>
            <a:r>
              <a:rPr lang="en-DK" sz="1800" dirty="0"/>
              <a:t>Brand </a:t>
            </a:r>
            <a:r>
              <a:rPr lang="da-DK" sz="1800" dirty="0"/>
              <a:t>2</a:t>
            </a:r>
            <a:r>
              <a:rPr lang="en-DK" sz="1800" dirty="0"/>
              <a:t>8. Maj 2020 (</a:t>
            </a:r>
            <a:r>
              <a:rPr lang="en-DK" sz="1800" dirty="0" err="1"/>
              <a:t>Trafo</a:t>
            </a:r>
            <a:r>
              <a:rPr lang="en-DK" sz="1800" dirty="0"/>
              <a:t> </a:t>
            </a:r>
            <a:r>
              <a:rPr lang="en-DK" sz="1800" dirty="0" err="1"/>
              <a:t>ved</a:t>
            </a:r>
            <a:r>
              <a:rPr lang="en-DK" sz="1800" dirty="0"/>
              <a:t> </a:t>
            </a:r>
            <a:r>
              <a:rPr lang="en-DK" sz="1800" dirty="0" err="1"/>
              <a:t>mølle</a:t>
            </a:r>
            <a:r>
              <a:rPr lang="en-DK" sz="1800" dirty="0"/>
              <a:t> nr. 11488)</a:t>
            </a:r>
          </a:p>
          <a:p>
            <a:pPr lvl="0">
              <a:spcAft>
                <a:spcPts val="1000"/>
              </a:spcAft>
            </a:pPr>
            <a:r>
              <a:rPr lang="en-DK" sz="1800" dirty="0"/>
              <a:t>Ingen </a:t>
            </a:r>
            <a:r>
              <a:rPr lang="en-DK" sz="1800" dirty="0" err="1"/>
              <a:t>kom</a:t>
            </a:r>
            <a:r>
              <a:rPr lang="en-DK" sz="1800" dirty="0"/>
              <a:t> </a:t>
            </a:r>
            <a:r>
              <a:rPr lang="en-DK" sz="1800" dirty="0" err="1"/>
              <a:t>til</a:t>
            </a:r>
            <a:r>
              <a:rPr lang="en-DK" sz="1800" dirty="0"/>
              <a:t> </a:t>
            </a:r>
            <a:r>
              <a:rPr lang="en-DK" sz="1800" dirty="0" err="1"/>
              <a:t>skade</a:t>
            </a:r>
            <a:r>
              <a:rPr lang="en-DK" sz="1800" dirty="0"/>
              <a:t> &amp; </a:t>
            </a:r>
            <a:r>
              <a:rPr lang="en-DK" sz="1800" dirty="0" err="1"/>
              <a:t>Mølle</a:t>
            </a:r>
            <a:r>
              <a:rPr lang="en-DK" sz="1800" dirty="0"/>
              <a:t> nr. 1304 </a:t>
            </a:r>
            <a:r>
              <a:rPr lang="en-DK" sz="1800" dirty="0" err="1"/>
              <a:t>fortsat</a:t>
            </a:r>
            <a:r>
              <a:rPr lang="en-DK" sz="1800" dirty="0"/>
              <a:t> OK.</a:t>
            </a:r>
          </a:p>
          <a:p>
            <a:pPr lvl="0">
              <a:spcAft>
                <a:spcPts val="1000"/>
              </a:spcAft>
            </a:pPr>
            <a:r>
              <a:rPr lang="en-DK" sz="1800" dirty="0"/>
              <a:t>4. </a:t>
            </a:r>
            <a:r>
              <a:rPr lang="en-DK" sz="1800" dirty="0" err="1"/>
              <a:t>Juni</a:t>
            </a:r>
            <a:r>
              <a:rPr lang="en-DK" sz="1800" dirty="0"/>
              <a:t> – inf</a:t>
            </a:r>
            <a:r>
              <a:rPr lang="en-US" sz="1800" dirty="0"/>
              <a:t>o</a:t>
            </a:r>
            <a:r>
              <a:rPr lang="en-DK" sz="1800" dirty="0"/>
              <a:t> </a:t>
            </a:r>
            <a:r>
              <a:rPr lang="en-DK" sz="1800" dirty="0" err="1"/>
              <a:t>til</a:t>
            </a:r>
            <a:r>
              <a:rPr lang="en-DK" sz="1800" dirty="0"/>
              <a:t> </a:t>
            </a:r>
            <a:r>
              <a:rPr lang="en-DK" sz="1800" dirty="0" err="1"/>
              <a:t>interessenterne</a:t>
            </a:r>
            <a:r>
              <a:rPr lang="en-DK" sz="1800" dirty="0"/>
              <a:t> om </a:t>
            </a:r>
            <a:r>
              <a:rPr lang="en-DK" sz="1800" dirty="0" err="1"/>
              <a:t>sagen</a:t>
            </a:r>
            <a:endParaRPr lang="en-DK" sz="1800" dirty="0"/>
          </a:p>
          <a:p>
            <a:pPr lvl="0">
              <a:spcAft>
                <a:spcPts val="1000"/>
              </a:spcAft>
            </a:pPr>
            <a:r>
              <a:rPr lang="en-DK" sz="1800" dirty="0"/>
              <a:t>23. </a:t>
            </a:r>
            <a:r>
              <a:rPr lang="en-DK" sz="1800" dirty="0" err="1"/>
              <a:t>Juli</a:t>
            </a:r>
            <a:r>
              <a:rPr lang="en-DK" sz="1800" dirty="0"/>
              <a:t> – </a:t>
            </a:r>
            <a:r>
              <a:rPr lang="en-DK" sz="1800" dirty="0" err="1"/>
              <a:t>Møllen</a:t>
            </a:r>
            <a:r>
              <a:rPr lang="en-DK" sz="1800" dirty="0"/>
              <a:t> i drift </a:t>
            </a:r>
            <a:r>
              <a:rPr lang="en-DK" sz="1800" dirty="0" err="1"/>
              <a:t>igen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130074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C6C128B1-E805-4E9E-9B62-66495E7F3DC0}"/>
              </a:ext>
            </a:extLst>
          </p:cNvPr>
          <p:cNvGrpSpPr/>
          <p:nvPr/>
        </p:nvGrpSpPr>
        <p:grpSpPr>
          <a:xfrm rot="21237764">
            <a:off x="721919" y="274318"/>
            <a:ext cx="4836459" cy="6200006"/>
            <a:chOff x="2235118" y="328997"/>
            <a:chExt cx="4836459" cy="6200006"/>
          </a:xfrm>
        </p:grpSpPr>
        <p:pic>
          <p:nvPicPr>
            <p:cNvPr id="4098" name="493006F8-A300-41F0-9F51-D5A6CE979488">
              <a:extLst>
                <a:ext uri="{FF2B5EF4-FFF2-40B4-BE49-F238E27FC236}">
                  <a16:creationId xmlns:a16="http://schemas.microsoft.com/office/drawing/2014/main" id="{6C6CA2C4-9215-4958-A3FC-65C3CDF662D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306" b="16622"/>
            <a:stretch/>
          </p:blipFill>
          <p:spPr bwMode="auto">
            <a:xfrm>
              <a:off x="2235118" y="328997"/>
              <a:ext cx="4836459" cy="62000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54A93598-979E-4525-A2DF-3252EA3243DF}"/>
                </a:ext>
              </a:extLst>
            </p:cNvPr>
            <p:cNvSpPr/>
            <p:nvPr/>
          </p:nvSpPr>
          <p:spPr>
            <a:xfrm>
              <a:off x="2528212" y="3497687"/>
              <a:ext cx="3946970" cy="172241"/>
            </a:xfrm>
            <a:prstGeom prst="roundRect">
              <a:avLst/>
            </a:prstGeom>
            <a:solidFill>
              <a:srgbClr val="FFFF00">
                <a:alpha val="32941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/>
            </a:p>
          </p:txBody>
        </p:sp>
      </p:grp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8E28E78-E016-4440-B04F-33100A8CB9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16565" y="3076574"/>
            <a:ext cx="3936098" cy="3464641"/>
          </a:xfrm>
        </p:spPr>
        <p:txBody>
          <a:bodyPr>
            <a:normAutofit fontScale="92500" lnSpcReduction="20000"/>
          </a:bodyPr>
          <a:lstStyle/>
          <a:p>
            <a:pPr lvl="0">
              <a:spcAft>
                <a:spcPts val="1000"/>
              </a:spcAft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en-DK" sz="1600" dirty="0"/>
              <a:t>ca. 250.000kr </a:t>
            </a:r>
            <a:r>
              <a:rPr lang="en-DK" sz="1600" dirty="0" err="1"/>
              <a:t>sparet</a:t>
            </a:r>
            <a:r>
              <a:rPr lang="en-DK" sz="1600" dirty="0"/>
              <a:t> </a:t>
            </a:r>
            <a:r>
              <a:rPr lang="en-DK" sz="1600" dirty="0" err="1"/>
              <a:t>på</a:t>
            </a:r>
            <a:r>
              <a:rPr lang="en-DK" sz="1600" dirty="0"/>
              <a:t> </a:t>
            </a:r>
            <a:r>
              <a:rPr lang="en-DK" sz="1600" dirty="0" err="1"/>
              <a:t>en</a:t>
            </a:r>
            <a:r>
              <a:rPr lang="en-DK" sz="1600" dirty="0"/>
              <a:t> </a:t>
            </a:r>
            <a:r>
              <a:rPr lang="en-DK" sz="1600" dirty="0" err="1"/>
              <a:t>brugt</a:t>
            </a:r>
            <a:r>
              <a:rPr lang="en-DK" sz="1600" dirty="0"/>
              <a:t> station, </a:t>
            </a:r>
            <a:r>
              <a:rPr lang="en-DK" sz="1600" dirty="0" err="1"/>
              <a:t>bortskaffelse</a:t>
            </a:r>
            <a:r>
              <a:rPr lang="en-DK" sz="1600" dirty="0"/>
              <a:t>, nye </a:t>
            </a:r>
            <a:r>
              <a:rPr lang="en-DK" sz="1600" dirty="0" err="1"/>
              <a:t>kabler</a:t>
            </a:r>
            <a:r>
              <a:rPr lang="en-DK" sz="1600" dirty="0"/>
              <a:t>, </a:t>
            </a:r>
            <a:r>
              <a:rPr lang="en-DK" sz="1600" dirty="0" err="1"/>
              <a:t>montering</a:t>
            </a:r>
            <a:r>
              <a:rPr lang="en-DK" sz="1600" dirty="0"/>
              <a:t> </a:t>
            </a:r>
            <a:r>
              <a:rPr lang="en-DK" sz="1600" dirty="0" err="1"/>
              <a:t>m.m.</a:t>
            </a:r>
            <a:endParaRPr lang="en-DK" sz="1600" dirty="0"/>
          </a:p>
          <a:p>
            <a:pPr lvl="0">
              <a:spcAft>
                <a:spcPts val="1000"/>
              </a:spcAft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en-DK" sz="1600" dirty="0" err="1"/>
              <a:t>Omkostninger</a:t>
            </a:r>
            <a:r>
              <a:rPr lang="en-DK" sz="1600" dirty="0"/>
              <a:t>: </a:t>
            </a:r>
            <a:r>
              <a:rPr lang="en-DK" sz="1600" dirty="0" err="1"/>
              <a:t>miljøsag</a:t>
            </a:r>
            <a:r>
              <a:rPr lang="en-DK" sz="1600" dirty="0"/>
              <a:t>, </a:t>
            </a:r>
            <a:r>
              <a:rPr lang="en-DK" sz="1600" dirty="0" err="1"/>
              <a:t>konsulentbistand</a:t>
            </a:r>
            <a:r>
              <a:rPr lang="en-DK" sz="1600" dirty="0"/>
              <a:t> </a:t>
            </a:r>
            <a:r>
              <a:rPr lang="en-DK" sz="1600" dirty="0" err="1"/>
              <a:t>og</a:t>
            </a:r>
            <a:r>
              <a:rPr lang="en-DK" sz="1600" dirty="0"/>
              <a:t> </a:t>
            </a:r>
            <a:r>
              <a:rPr lang="en-DK" sz="1600" dirty="0" err="1"/>
              <a:t>jordanalyser</a:t>
            </a:r>
            <a:r>
              <a:rPr lang="en-DK" sz="1600" dirty="0"/>
              <a:t> </a:t>
            </a:r>
            <a:r>
              <a:rPr lang="en-DK" sz="1600" dirty="0" err="1"/>
              <a:t>jf</a:t>
            </a:r>
            <a:r>
              <a:rPr lang="en-DK" sz="1600" dirty="0"/>
              <a:t>. </a:t>
            </a:r>
            <a:r>
              <a:rPr lang="en-US" sz="1600" dirty="0"/>
              <a:t>K</a:t>
            </a:r>
            <a:r>
              <a:rPr lang="en-DK" sz="1600" dirty="0" err="1"/>
              <a:t>ommunens</a:t>
            </a:r>
            <a:r>
              <a:rPr lang="en-DK" sz="1600" dirty="0"/>
              <a:t> </a:t>
            </a:r>
            <a:r>
              <a:rPr lang="en-DK" sz="1600" dirty="0" err="1"/>
              <a:t>foreskrifter</a:t>
            </a:r>
            <a:endParaRPr lang="en-DK" sz="1600" dirty="0"/>
          </a:p>
          <a:p>
            <a:pPr lvl="0">
              <a:spcAft>
                <a:spcPts val="1000"/>
              </a:spcAft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en-DK" sz="1600" dirty="0"/>
              <a:t>Ny </a:t>
            </a:r>
            <a:r>
              <a:rPr lang="en-DK" sz="1600" dirty="0" err="1"/>
              <a:t>ansvarsaftale</a:t>
            </a:r>
            <a:r>
              <a:rPr lang="en-DK" sz="1600" dirty="0"/>
              <a:t> </a:t>
            </a:r>
            <a:r>
              <a:rPr lang="en-DK" sz="1600" dirty="0" err="1"/>
              <a:t>indgået</a:t>
            </a:r>
            <a:r>
              <a:rPr lang="en-DK" sz="1600" dirty="0"/>
              <a:t> med N1 (El-</a:t>
            </a:r>
            <a:r>
              <a:rPr lang="en-DK" sz="1600" dirty="0" err="1"/>
              <a:t>selskab</a:t>
            </a:r>
            <a:r>
              <a:rPr lang="en-DK" sz="1600" dirty="0"/>
              <a:t>)</a:t>
            </a:r>
          </a:p>
          <a:p>
            <a:pPr lvl="0">
              <a:spcAft>
                <a:spcPts val="1000"/>
              </a:spcAft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en-DK" sz="1600" dirty="0" err="1"/>
              <a:t>Lovpligtig</a:t>
            </a:r>
            <a:r>
              <a:rPr lang="en-DK" sz="1600" dirty="0"/>
              <a:t> </a:t>
            </a:r>
            <a:r>
              <a:rPr lang="en-DK" sz="1600" dirty="0" err="1"/>
              <a:t>Driftsansvarsaftale</a:t>
            </a:r>
            <a:r>
              <a:rPr lang="en-DK" sz="1600" dirty="0"/>
              <a:t> </a:t>
            </a:r>
            <a:r>
              <a:rPr lang="en-DK" sz="1600" dirty="0" err="1"/>
              <a:t>på</a:t>
            </a:r>
            <a:r>
              <a:rPr lang="en-DK" sz="1600" dirty="0"/>
              <a:t> </a:t>
            </a:r>
            <a:r>
              <a:rPr lang="en-DK" sz="1600" dirty="0" err="1"/>
              <a:t>plads</a:t>
            </a:r>
            <a:r>
              <a:rPr lang="en-DK" sz="1600" dirty="0"/>
              <a:t> med NWC</a:t>
            </a:r>
          </a:p>
          <a:p>
            <a:pPr lvl="0">
              <a:spcAft>
                <a:spcPts val="1000"/>
              </a:spcAft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en-DK" sz="1600" dirty="0" err="1"/>
              <a:t>Produktionstabsdækning</a:t>
            </a:r>
            <a:r>
              <a:rPr lang="en-DK" sz="1600" dirty="0"/>
              <a:t> </a:t>
            </a:r>
            <a:r>
              <a:rPr lang="en-DK" sz="1600" dirty="0" err="1"/>
              <a:t>sikret</a:t>
            </a:r>
            <a:r>
              <a:rPr lang="en-DK" sz="1600" dirty="0"/>
              <a:t> for </a:t>
            </a:r>
            <a:r>
              <a:rPr lang="en-DK" sz="1600" dirty="0" err="1"/>
              <a:t>perioden</a:t>
            </a:r>
            <a:r>
              <a:rPr lang="en-DK" sz="1600" dirty="0"/>
              <a:t> 28.Maj – 23.Juli </a:t>
            </a:r>
          </a:p>
          <a:p>
            <a:pPr marL="0" lvl="0" indent="0">
              <a:spcAft>
                <a:spcPts val="1000"/>
              </a:spcAft>
              <a:buNone/>
            </a:pPr>
            <a:endParaRPr lang="en-DK" sz="1600" dirty="0"/>
          </a:p>
          <a:p>
            <a:pPr marL="0" lvl="0" indent="0">
              <a:spcAft>
                <a:spcPts val="1000"/>
              </a:spcAft>
              <a:buNone/>
            </a:pPr>
            <a:r>
              <a:rPr lang="en-DK" sz="1600" dirty="0"/>
              <a:t> </a:t>
            </a:r>
            <a:endParaRPr lang="en-US" sz="1600" dirty="0"/>
          </a:p>
        </p:txBody>
      </p:sp>
      <p:pic>
        <p:nvPicPr>
          <p:cNvPr id="6146" name="1EB4D2C7-0FA8-4517-BA3B-B6C94811D307">
            <a:extLst>
              <a:ext uri="{FF2B5EF4-FFF2-40B4-BE49-F238E27FC236}">
                <a16:creationId xmlns:a16="http://schemas.microsoft.com/office/drawing/2014/main" id="{F3407915-E2CC-4215-84B5-0864FE6235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68" r="15520"/>
          <a:stretch/>
        </p:blipFill>
        <p:spPr bwMode="auto">
          <a:xfrm rot="4895101">
            <a:off x="538255" y="1987755"/>
            <a:ext cx="4567201" cy="4249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0BD0AE5-0318-4A33-8E37-EC6A61284EA6}"/>
              </a:ext>
            </a:extLst>
          </p:cNvPr>
          <p:cNvGrpSpPr/>
          <p:nvPr/>
        </p:nvGrpSpPr>
        <p:grpSpPr>
          <a:xfrm>
            <a:off x="917983" y="175674"/>
            <a:ext cx="5178017" cy="6568164"/>
            <a:chOff x="2821855" y="662781"/>
            <a:chExt cx="5695950" cy="7139110"/>
          </a:xfrm>
        </p:grpSpPr>
        <p:pic>
          <p:nvPicPr>
            <p:cNvPr id="6147" name="3C75953E-D863-49A5-A0D3-6621EE4FC8AD">
              <a:extLst>
                <a:ext uri="{FF2B5EF4-FFF2-40B4-BE49-F238E27FC236}">
                  <a16:creationId xmlns:a16="http://schemas.microsoft.com/office/drawing/2014/main" id="{F46FD702-21D9-4754-98CC-61BFD00281A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2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997"/>
            <a:stretch/>
          </p:blipFill>
          <p:spPr bwMode="auto">
            <a:xfrm rot="5340000">
              <a:off x="2100275" y="1384361"/>
              <a:ext cx="7139110" cy="569595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</p:pic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1FB104E1-E442-4707-804C-90112FE23856}"/>
                </a:ext>
              </a:extLst>
            </p:cNvPr>
            <p:cNvSpPr/>
            <p:nvPr/>
          </p:nvSpPr>
          <p:spPr>
            <a:xfrm>
              <a:off x="3351978" y="6541216"/>
              <a:ext cx="4341767" cy="187213"/>
            </a:xfrm>
            <a:prstGeom prst="roundRect">
              <a:avLst/>
            </a:prstGeom>
            <a:solidFill>
              <a:srgbClr val="FFFF00">
                <a:alpha val="32941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/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16C30798-E0F4-46BA-8954-44FCD784F5EE}"/>
                </a:ext>
              </a:extLst>
            </p:cNvPr>
            <p:cNvSpPr/>
            <p:nvPr/>
          </p:nvSpPr>
          <p:spPr>
            <a:xfrm>
              <a:off x="3351978" y="6714883"/>
              <a:ext cx="1475204" cy="164384"/>
            </a:xfrm>
            <a:prstGeom prst="roundRect">
              <a:avLst/>
            </a:prstGeom>
            <a:solidFill>
              <a:srgbClr val="FFFF00">
                <a:alpha val="32941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0FFEBE31-9A95-46F5-B5F8-F634613E20A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338174">
            <a:off x="2078823" y="340206"/>
            <a:ext cx="4943550" cy="617758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CD0FD6B-6132-4B49-8DC7-F96DF9AF719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621931">
            <a:off x="2251148" y="2382362"/>
            <a:ext cx="5401684" cy="3885422"/>
          </a:xfrm>
          <a:prstGeom prst="rect">
            <a:avLst/>
          </a:prstGeom>
          <a:ln w="127000" cap="rnd">
            <a:solidFill>
              <a:srgbClr val="FFFFFF"/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A0305074-3F42-427D-A380-4A16B972C3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32202838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132556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sz="4000" b="1" dirty="0">
                <a:latin typeface="Arial" panose="020B0604020202020204" pitchFamily="34" charset="0"/>
                <a:cs typeface="Arial" panose="020B0604020202020204" pitchFamily="34" charset="0"/>
              </a:rPr>
              <a:t>Udlodning 2020</a:t>
            </a:r>
            <a:endParaRPr lang="en-GB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91FBBDB-9F4A-4783-BDE9-C7E749B7EE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883" y="2203866"/>
            <a:ext cx="4148648" cy="86418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77F7698-DFDE-4FCC-A312-BE2F97A074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883" y="3353340"/>
            <a:ext cx="11041614" cy="218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0372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3</TotalTime>
  <Words>509</Words>
  <Application>Microsoft Office PowerPoint</Application>
  <PresentationFormat>Widescreen</PresentationFormat>
  <Paragraphs>79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cme</vt:lpstr>
      <vt:lpstr>Arial</vt:lpstr>
      <vt:lpstr>Calibri</vt:lpstr>
      <vt:lpstr>Calibri Light</vt:lpstr>
      <vt:lpstr>Office Theme</vt:lpstr>
      <vt:lpstr>think-cell Slide</vt:lpstr>
      <vt:lpstr> Ordinært Interessentskabsmøde for året 2020</vt:lpstr>
      <vt:lpstr>Dagsorden</vt:lpstr>
      <vt:lpstr>PowerPoint Presentation</vt:lpstr>
      <vt:lpstr>Beretning</vt:lpstr>
      <vt:lpstr>Beretning</vt:lpstr>
      <vt:lpstr>Teknik – Møllernes tilstand &amp; Service oversigt</vt:lpstr>
      <vt:lpstr>Teknik – Transformer Brand</vt:lpstr>
      <vt:lpstr>PowerPoint Presentation</vt:lpstr>
      <vt:lpstr>Udlodning 2020</vt:lpstr>
      <vt:lpstr>Ekstraordinært punkt</vt:lpstr>
      <vt:lpstr>PowerPoint Presentation</vt:lpstr>
    </vt:vector>
  </TitlesOfParts>
  <Company>Nordex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neral Forsamling 2016</dc:title>
  <dc:creator>Wichmann-Hansen, Kim</dc:creator>
  <cp:lastModifiedBy>Kim Wichmann-Hansen</cp:lastModifiedBy>
  <cp:revision>86</cp:revision>
  <dcterms:created xsi:type="dcterms:W3CDTF">2016-03-02T15:21:03Z</dcterms:created>
  <dcterms:modified xsi:type="dcterms:W3CDTF">2021-08-07T07:55:36Z</dcterms:modified>
</cp:coreProperties>
</file>